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sldIdLst>
    <p:sldId id="256" r:id="rId5"/>
    <p:sldId id="8011" r:id="rId6"/>
    <p:sldId id="8048" r:id="rId7"/>
    <p:sldId id="8058" r:id="rId8"/>
    <p:sldId id="8045" r:id="rId9"/>
  </p:sldIdLst>
  <p:sldSz cx="12192000" cy="6858000"/>
  <p:notesSz cx="7099300" cy="10234613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8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xandra Kelly - EVC" initials="AKE" lastIdx="3" clrIdx="0">
    <p:extLst>
      <p:ext uri="{19B8F6BF-5375-455C-9EA6-DF929625EA0E}">
        <p15:presenceInfo xmlns:p15="http://schemas.microsoft.com/office/powerpoint/2012/main" userId="Alexandra Kelly - EVC" providerId="None"/>
      </p:ext>
    </p:extLst>
  </p:cmAuthor>
  <p:cmAuthor id="2" name="Ross De Rango" initials="RR" lastIdx="1" clrIdx="1">
    <p:extLst>
      <p:ext uri="{19B8F6BF-5375-455C-9EA6-DF929625EA0E}">
        <p15:presenceInfo xmlns:p15="http://schemas.microsoft.com/office/powerpoint/2012/main" userId="S::ross@evc.org.au::54b2ea6d-7c45-48b7-8b7b-f9680816baf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407C"/>
    <a:srgbClr val="3E4C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645" autoAdjust="0"/>
    <p:restoredTop sz="93595" autoAdjust="0"/>
  </p:normalViewPr>
  <p:slideViewPr>
    <p:cSldViewPr snapToGrid="0">
      <p:cViewPr varScale="1">
        <p:scale>
          <a:sx n="69" d="100"/>
          <a:sy n="69" d="100"/>
        </p:scale>
        <p:origin x="1018" y="278"/>
      </p:cViewPr>
      <p:guideLst>
        <p:guide orient="horz" pos="1412"/>
        <p:guide pos="3840"/>
        <p:guide orient="horz" pos="890"/>
      </p:guideLst>
    </p:cSldViewPr>
  </p:slideViewPr>
  <p:notesTextViewPr>
    <p:cViewPr>
      <p:scale>
        <a:sx n="66" d="100"/>
        <a:sy n="66" d="100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ss De Rango" userId="a2e27578bf7d9b68" providerId="LiveId" clId="{3299F991-0683-4482-93D7-1B11ED30373B}"/>
    <pc:docChg chg="custSel delSld modSld sldOrd">
      <pc:chgData name="Ross De Rango" userId="a2e27578bf7d9b68" providerId="LiveId" clId="{3299F991-0683-4482-93D7-1B11ED30373B}" dt="2024-11-18T23:47:45.150" v="240" actId="20577"/>
      <pc:docMkLst>
        <pc:docMk/>
      </pc:docMkLst>
      <pc:sldChg chg="modSp mod">
        <pc:chgData name="Ross De Rango" userId="a2e27578bf7d9b68" providerId="LiveId" clId="{3299F991-0683-4482-93D7-1B11ED30373B}" dt="2024-11-18T23:44:11.763" v="2" actId="20577"/>
        <pc:sldMkLst>
          <pc:docMk/>
          <pc:sldMk cId="1853871751" sldId="256"/>
        </pc:sldMkLst>
        <pc:spChg chg="mod">
          <ac:chgData name="Ross De Rango" userId="a2e27578bf7d9b68" providerId="LiveId" clId="{3299F991-0683-4482-93D7-1B11ED30373B}" dt="2024-11-18T23:44:11.763" v="2" actId="20577"/>
          <ac:spMkLst>
            <pc:docMk/>
            <pc:sldMk cId="1853871751" sldId="256"/>
            <ac:spMk id="2" creationId="{A29CC903-EBA9-4E4B-BFF0-C45805B1F7E0}"/>
          </ac:spMkLst>
        </pc:spChg>
      </pc:sldChg>
      <pc:sldChg chg="del">
        <pc:chgData name="Ross De Rango" userId="a2e27578bf7d9b68" providerId="LiveId" clId="{3299F991-0683-4482-93D7-1B11ED30373B}" dt="2024-11-18T23:44:15.747" v="3" actId="47"/>
        <pc:sldMkLst>
          <pc:docMk/>
          <pc:sldMk cId="737952860" sldId="7907"/>
        </pc:sldMkLst>
      </pc:sldChg>
      <pc:sldChg chg="del ord">
        <pc:chgData name="Ross De Rango" userId="a2e27578bf7d9b68" providerId="LiveId" clId="{3299F991-0683-4482-93D7-1B11ED30373B}" dt="2024-11-18T23:45:28.510" v="135" actId="47"/>
        <pc:sldMkLst>
          <pc:docMk/>
          <pc:sldMk cId="264104747" sldId="7997"/>
        </pc:sldMkLst>
      </pc:sldChg>
      <pc:sldChg chg="del">
        <pc:chgData name="Ross De Rango" userId="a2e27578bf7d9b68" providerId="LiveId" clId="{3299F991-0683-4482-93D7-1B11ED30373B}" dt="2024-11-18T23:45:28.510" v="135" actId="47"/>
        <pc:sldMkLst>
          <pc:docMk/>
          <pc:sldMk cId="479910371" sldId="8003"/>
        </pc:sldMkLst>
      </pc:sldChg>
      <pc:sldChg chg="del">
        <pc:chgData name="Ross De Rango" userId="a2e27578bf7d9b68" providerId="LiveId" clId="{3299F991-0683-4482-93D7-1B11ED30373B}" dt="2024-11-18T23:45:28.510" v="135" actId="47"/>
        <pc:sldMkLst>
          <pc:docMk/>
          <pc:sldMk cId="2135363455" sldId="8008"/>
        </pc:sldMkLst>
      </pc:sldChg>
      <pc:sldChg chg="modSp mod">
        <pc:chgData name="Ross De Rango" userId="a2e27578bf7d9b68" providerId="LiveId" clId="{3299F991-0683-4482-93D7-1B11ED30373B}" dt="2024-11-18T23:47:25.208" v="237" actId="1076"/>
        <pc:sldMkLst>
          <pc:docMk/>
          <pc:sldMk cId="2680400417" sldId="8011"/>
        </pc:sldMkLst>
        <pc:spChg chg="mod">
          <ac:chgData name="Ross De Rango" userId="a2e27578bf7d9b68" providerId="LiveId" clId="{3299F991-0683-4482-93D7-1B11ED30373B}" dt="2024-11-18T23:47:25.208" v="237" actId="1076"/>
          <ac:spMkLst>
            <pc:docMk/>
            <pc:sldMk cId="2680400417" sldId="8011"/>
            <ac:spMk id="6" creationId="{3093FDD7-0D12-F062-6158-CD948DF4D0AB}"/>
          </ac:spMkLst>
        </pc:spChg>
      </pc:sldChg>
      <pc:sldChg chg="del">
        <pc:chgData name="Ross De Rango" userId="a2e27578bf7d9b68" providerId="LiveId" clId="{3299F991-0683-4482-93D7-1B11ED30373B}" dt="2024-11-18T23:45:28.510" v="135" actId="47"/>
        <pc:sldMkLst>
          <pc:docMk/>
          <pc:sldMk cId="2410428645" sldId="8012"/>
        </pc:sldMkLst>
      </pc:sldChg>
      <pc:sldChg chg="del">
        <pc:chgData name="Ross De Rango" userId="a2e27578bf7d9b68" providerId="LiveId" clId="{3299F991-0683-4482-93D7-1B11ED30373B}" dt="2024-11-18T23:45:28.510" v="135" actId="47"/>
        <pc:sldMkLst>
          <pc:docMk/>
          <pc:sldMk cId="1554862150" sldId="8013"/>
        </pc:sldMkLst>
      </pc:sldChg>
      <pc:sldChg chg="del">
        <pc:chgData name="Ross De Rango" userId="a2e27578bf7d9b68" providerId="LiveId" clId="{3299F991-0683-4482-93D7-1B11ED30373B}" dt="2024-11-18T23:45:28.510" v="135" actId="47"/>
        <pc:sldMkLst>
          <pc:docMk/>
          <pc:sldMk cId="1852541387" sldId="8014"/>
        </pc:sldMkLst>
      </pc:sldChg>
      <pc:sldChg chg="del">
        <pc:chgData name="Ross De Rango" userId="a2e27578bf7d9b68" providerId="LiveId" clId="{3299F991-0683-4482-93D7-1B11ED30373B}" dt="2024-11-18T23:45:28.510" v="135" actId="47"/>
        <pc:sldMkLst>
          <pc:docMk/>
          <pc:sldMk cId="3660028230" sldId="8033"/>
        </pc:sldMkLst>
      </pc:sldChg>
      <pc:sldChg chg="del">
        <pc:chgData name="Ross De Rango" userId="a2e27578bf7d9b68" providerId="LiveId" clId="{3299F991-0683-4482-93D7-1B11ED30373B}" dt="2024-11-18T23:45:28.510" v="135" actId="47"/>
        <pc:sldMkLst>
          <pc:docMk/>
          <pc:sldMk cId="2264028163" sldId="8036"/>
        </pc:sldMkLst>
      </pc:sldChg>
      <pc:sldChg chg="del">
        <pc:chgData name="Ross De Rango" userId="a2e27578bf7d9b68" providerId="LiveId" clId="{3299F991-0683-4482-93D7-1B11ED30373B}" dt="2024-11-18T23:45:28.510" v="135" actId="47"/>
        <pc:sldMkLst>
          <pc:docMk/>
          <pc:sldMk cId="3480911964" sldId="8037"/>
        </pc:sldMkLst>
      </pc:sldChg>
      <pc:sldChg chg="modSp mod">
        <pc:chgData name="Ross De Rango" userId="a2e27578bf7d9b68" providerId="LiveId" clId="{3299F991-0683-4482-93D7-1B11ED30373B}" dt="2024-11-18T23:45:19.423" v="133" actId="20577"/>
        <pc:sldMkLst>
          <pc:docMk/>
          <pc:sldMk cId="1801076139" sldId="8045"/>
        </pc:sldMkLst>
        <pc:spChg chg="mod">
          <ac:chgData name="Ross De Rango" userId="a2e27578bf7d9b68" providerId="LiveId" clId="{3299F991-0683-4482-93D7-1B11ED30373B}" dt="2024-11-18T23:45:19.423" v="133" actId="20577"/>
          <ac:spMkLst>
            <pc:docMk/>
            <pc:sldMk cId="1801076139" sldId="8045"/>
            <ac:spMk id="3" creationId="{57F5CED7-4216-C3D3-45D2-DB19582FE66F}"/>
          </ac:spMkLst>
        </pc:spChg>
      </pc:sldChg>
      <pc:sldChg chg="modSp mod">
        <pc:chgData name="Ross De Rango" userId="a2e27578bf7d9b68" providerId="LiveId" clId="{3299F991-0683-4482-93D7-1B11ED30373B}" dt="2024-11-18T23:44:37.692" v="69" actId="20577"/>
        <pc:sldMkLst>
          <pc:docMk/>
          <pc:sldMk cId="2043617783" sldId="8048"/>
        </pc:sldMkLst>
        <pc:spChg chg="mod">
          <ac:chgData name="Ross De Rango" userId="a2e27578bf7d9b68" providerId="LiveId" clId="{3299F991-0683-4482-93D7-1B11ED30373B}" dt="2024-11-18T23:44:37.692" v="69" actId="20577"/>
          <ac:spMkLst>
            <pc:docMk/>
            <pc:sldMk cId="2043617783" sldId="8048"/>
            <ac:spMk id="3" creationId="{57F5CED7-4216-C3D3-45D2-DB19582FE66F}"/>
          </ac:spMkLst>
        </pc:spChg>
      </pc:sldChg>
      <pc:sldChg chg="del">
        <pc:chgData name="Ross De Rango" userId="a2e27578bf7d9b68" providerId="LiveId" clId="{3299F991-0683-4482-93D7-1B11ED30373B}" dt="2024-11-18T23:45:28.510" v="135" actId="47"/>
        <pc:sldMkLst>
          <pc:docMk/>
          <pc:sldMk cId="1253975814" sldId="8053"/>
        </pc:sldMkLst>
      </pc:sldChg>
      <pc:sldChg chg="modSp mod">
        <pc:chgData name="Ross De Rango" userId="a2e27578bf7d9b68" providerId="LiveId" clId="{3299F991-0683-4482-93D7-1B11ED30373B}" dt="2024-11-18T23:47:45.150" v="240" actId="20577"/>
        <pc:sldMkLst>
          <pc:docMk/>
          <pc:sldMk cId="2551168791" sldId="8058"/>
        </pc:sldMkLst>
        <pc:spChg chg="mod">
          <ac:chgData name="Ross De Rango" userId="a2e27578bf7d9b68" providerId="LiveId" clId="{3299F991-0683-4482-93D7-1B11ED30373B}" dt="2024-11-18T23:47:45.150" v="240" actId="20577"/>
          <ac:spMkLst>
            <pc:docMk/>
            <pc:sldMk cId="2551168791" sldId="8058"/>
            <ac:spMk id="3" creationId="{97B7BA1F-7746-DFAD-76A3-A407B412E8EB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DFB4CBEC-7088-4915-9429-0423401D8AA4}" type="datetimeFigureOut">
              <a:rPr lang="en-AU" smtClean="0"/>
              <a:t>19/11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6C03F2D7-00BE-4B8C-A79B-2A7FFB45A5F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69128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1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00000" y="3600000"/>
            <a:ext cx="7920000" cy="1332000"/>
          </a:xfrm>
        </p:spPr>
        <p:txBody>
          <a:bodyPr anchor="b">
            <a:normAutofit/>
          </a:bodyPr>
          <a:lstStyle>
            <a:lvl1pPr algn="l">
              <a:defRPr sz="3000" b="1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00000" y="5760000"/>
            <a:ext cx="7920000" cy="720000"/>
          </a:xfrm>
        </p:spPr>
        <p:txBody>
          <a:bodyPr>
            <a:normAutofit/>
          </a:bodyPr>
          <a:lstStyle>
            <a:lvl1pPr marL="0" indent="0" algn="l">
              <a:buNone/>
              <a:defRPr sz="2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19/11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000" y="900001"/>
            <a:ext cx="4608000" cy="18941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12000"/>
            <a:ext cx="10476000" cy="1310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795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21687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5343525"/>
            <a:ext cx="12192000" cy="1514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9588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00000" y="864000"/>
            <a:ext cx="8280000" cy="489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19/11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0000"/>
            <a:ext cx="1597238" cy="37439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6141866"/>
            <a:ext cx="1295999" cy="533106"/>
          </a:xfrm>
          <a:prstGeom prst="rect">
            <a:avLst/>
          </a:prstGeom>
        </p:spPr>
      </p:pic>
      <p:sp>
        <p:nvSpPr>
          <p:cNvPr id="11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1800225" y="5959475"/>
            <a:ext cx="8280400" cy="89852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6462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vy -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0" y="2808000"/>
            <a:ext cx="7920000" cy="1944000"/>
          </a:xfrm>
        </p:spPr>
        <p:txBody>
          <a:bodyPr anchor="t" anchorCtr="0">
            <a:normAutofit/>
          </a:bodyPr>
          <a:lstStyle>
            <a:lvl1pPr>
              <a:lnSpc>
                <a:spcPts val="15000"/>
              </a:lnSpc>
              <a:defRPr sz="1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00000" y="5148000"/>
            <a:ext cx="7920000" cy="1296000"/>
          </a:xfrm>
        </p:spPr>
        <p:txBody>
          <a:bodyPr/>
          <a:lstStyle>
            <a:lvl1pPr marL="0" indent="0">
              <a:lnSpc>
                <a:spcPts val="6000"/>
              </a:lnSpc>
              <a:spcBef>
                <a:spcPts val="0"/>
              </a:spcBef>
              <a:spcAft>
                <a:spcPts val="1200"/>
              </a:spcAft>
              <a:buNone/>
              <a:defRPr sz="60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19/11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08000"/>
            <a:ext cx="10476000" cy="13011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900000"/>
            <a:ext cx="1296000" cy="533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6036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y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343525"/>
            <a:ext cx="12192000" cy="151447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9588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19/11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0000"/>
            <a:ext cx="1597239" cy="3744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6141866"/>
            <a:ext cx="1296000" cy="533106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1800225" y="5959475"/>
            <a:ext cx="8280400" cy="89852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08942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y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343525"/>
            <a:ext cx="12192000" cy="151447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9588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00000" y="864000"/>
            <a:ext cx="8280000" cy="489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19/11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0000"/>
            <a:ext cx="1597239" cy="3744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6141866"/>
            <a:ext cx="1296000" cy="533106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1800225" y="5959475"/>
            <a:ext cx="8280400" cy="89852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90196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Green -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0" y="2808000"/>
            <a:ext cx="7920000" cy="1944000"/>
          </a:xfrm>
        </p:spPr>
        <p:txBody>
          <a:bodyPr anchor="t" anchorCtr="0">
            <a:normAutofit/>
          </a:bodyPr>
          <a:lstStyle>
            <a:lvl1pPr>
              <a:lnSpc>
                <a:spcPts val="15000"/>
              </a:lnSpc>
              <a:defRPr sz="1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00000" y="5148000"/>
            <a:ext cx="7920000" cy="1296000"/>
          </a:xfrm>
        </p:spPr>
        <p:txBody>
          <a:bodyPr/>
          <a:lstStyle>
            <a:lvl1pPr marL="0" indent="0">
              <a:lnSpc>
                <a:spcPts val="6000"/>
              </a:lnSpc>
              <a:spcBef>
                <a:spcPts val="0"/>
              </a:spcBef>
              <a:spcAft>
                <a:spcPts val="1200"/>
              </a:spcAft>
              <a:buNone/>
              <a:defRPr sz="60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19/11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08000"/>
            <a:ext cx="10476000" cy="13011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900000"/>
            <a:ext cx="1295999" cy="533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4960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343525"/>
            <a:ext cx="12192000" cy="15144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9588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19/11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0000"/>
            <a:ext cx="1597238" cy="3744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6141866"/>
            <a:ext cx="1295999" cy="533106"/>
          </a:xfrm>
          <a:prstGeom prst="rect">
            <a:avLst/>
          </a:prstGeom>
        </p:spPr>
      </p:pic>
      <p:sp>
        <p:nvSpPr>
          <p:cNvPr id="11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1800225" y="5959475"/>
            <a:ext cx="8280400" cy="89852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51640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343525"/>
            <a:ext cx="12192000" cy="15144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9588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00000" y="864000"/>
            <a:ext cx="8280000" cy="489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19/11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0000"/>
            <a:ext cx="1597238" cy="3744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6141866"/>
            <a:ext cx="1295999" cy="533106"/>
          </a:xfrm>
          <a:prstGeom prst="rect">
            <a:avLst/>
          </a:prstGeom>
        </p:spPr>
      </p:pic>
      <p:sp>
        <p:nvSpPr>
          <p:cNvPr id="11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1800225" y="5959475"/>
            <a:ext cx="8280400" cy="89852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61257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lue -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0" y="2808000"/>
            <a:ext cx="7920000" cy="1944000"/>
          </a:xfrm>
        </p:spPr>
        <p:txBody>
          <a:bodyPr anchor="t" anchorCtr="0">
            <a:normAutofit/>
          </a:bodyPr>
          <a:lstStyle>
            <a:lvl1pPr>
              <a:lnSpc>
                <a:spcPts val="15000"/>
              </a:lnSpc>
              <a:defRPr sz="1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00000" y="5148000"/>
            <a:ext cx="7920000" cy="1296000"/>
          </a:xfrm>
        </p:spPr>
        <p:txBody>
          <a:bodyPr/>
          <a:lstStyle>
            <a:lvl1pPr marL="0" indent="0">
              <a:lnSpc>
                <a:spcPts val="6000"/>
              </a:lnSpc>
              <a:spcBef>
                <a:spcPts val="0"/>
              </a:spcBef>
              <a:spcAft>
                <a:spcPts val="1200"/>
              </a:spcAft>
              <a:buNone/>
              <a:defRPr sz="60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19/11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08000"/>
            <a:ext cx="10476000" cy="13011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900000"/>
            <a:ext cx="1295999" cy="533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8130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343525"/>
            <a:ext cx="12192000" cy="1514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9588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19/11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0000"/>
            <a:ext cx="1597238" cy="37439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6141866"/>
            <a:ext cx="1295999" cy="533106"/>
          </a:xfrm>
          <a:prstGeom prst="rect">
            <a:avLst/>
          </a:prstGeom>
        </p:spPr>
      </p:pic>
      <p:sp>
        <p:nvSpPr>
          <p:cNvPr id="11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1800225" y="5959475"/>
            <a:ext cx="8280400" cy="89852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20342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44838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00000" y="864000"/>
            <a:ext cx="8280000" cy="10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00000" y="2340000"/>
            <a:ext cx="8280000" cy="34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4300" y="6534150"/>
            <a:ext cx="1685700" cy="32385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E7FF9E-04BE-40EB-B4A7-25FF3C014561}" type="datetimeFigureOut">
              <a:rPr lang="en-AU" smtClean="0"/>
              <a:t>19/11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00000" y="6534150"/>
            <a:ext cx="6353400" cy="32385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06225" y="6534150"/>
            <a:ext cx="361950" cy="32385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80442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6" r:id="rId4"/>
    <p:sldLayoutId id="2147483652" r:id="rId5"/>
    <p:sldLayoutId id="2147483653" r:id="rId6"/>
    <p:sldLayoutId id="2147483657" r:id="rId7"/>
    <p:sldLayoutId id="2147483654" r:id="rId8"/>
    <p:sldLayoutId id="2147483655" r:id="rId9"/>
    <p:sldLayoutId id="2147483658" r:id="rId10"/>
  </p:sldLayoutIdLst>
  <p:txStyles>
    <p:titleStyle>
      <a:lvl1pPr algn="l" defTabSz="914400" rtl="0" eaLnBrk="1" latinLnBrk="0" hangingPunct="1">
        <a:lnSpc>
          <a:spcPts val="3600"/>
        </a:lnSpc>
        <a:spcBef>
          <a:spcPct val="0"/>
        </a:spcBef>
        <a:spcAft>
          <a:spcPts val="1200"/>
        </a:spcAft>
        <a:buNone/>
        <a:defRPr sz="3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600"/>
        </a:spcBef>
        <a:buFont typeface="Arial" panose="020B0604020202020204" pitchFamily="34" charset="0"/>
        <a:buNone/>
        <a:defRPr sz="2200" kern="1200" cap="all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19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ts val="19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ts val="1900"/>
        </a:lnSpc>
        <a:spcBef>
          <a:spcPts val="600"/>
        </a:spcBef>
        <a:buFont typeface="Arial Narrow" panose="020B060602020203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ts val="1900"/>
        </a:lnSpc>
        <a:spcBef>
          <a:spcPts val="600"/>
        </a:spcBef>
        <a:buFont typeface="Arial Narrow" panose="020B0606020202030204" pitchFamily="34" charset="0"/>
        <a:buChar char="◦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9CC903-EBA9-4E4B-BFF0-C45805B1F7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00001" y="3333509"/>
            <a:ext cx="9082364" cy="1794076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3200" dirty="0">
                <a:solidFill>
                  <a:srgbClr val="00B0F0"/>
                </a:solidFill>
                <a:latin typeface="Arial" panose="020B0604020202020204" pitchFamily="34" charset="0"/>
              </a:rPr>
              <a:t>Getting Charged and Ready:</a:t>
            </a:r>
            <a:br>
              <a:rPr lang="en-US" sz="3200" dirty="0">
                <a:solidFill>
                  <a:srgbClr val="00B0F0"/>
                </a:solidFill>
                <a:latin typeface="Arial" panose="020B0604020202020204" pitchFamily="34" charset="0"/>
              </a:rPr>
            </a:br>
            <a:r>
              <a:rPr lang="en-US" sz="3200" dirty="0">
                <a:solidFill>
                  <a:srgbClr val="00B0F0"/>
                </a:solidFill>
                <a:latin typeface="Arial" panose="020B0604020202020204" pitchFamily="34" charset="0"/>
              </a:rPr>
              <a:t>Placing Consumers in the Driving Seat to Power Up the Grid</a:t>
            </a:r>
            <a:endParaRPr lang="en-AU" sz="19900" dirty="0">
              <a:solidFill>
                <a:srgbClr val="00B0F0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A10096-87A4-4C0B-9E8E-16BF8CB0B6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ross de </a:t>
            </a:r>
            <a:r>
              <a:rPr lang="en-US" dirty="0" err="1"/>
              <a:t>rango</a:t>
            </a:r>
            <a:endParaRPr lang="en-US" dirty="0"/>
          </a:p>
          <a:p>
            <a:r>
              <a:rPr lang="en-US" dirty="0"/>
              <a:t>head of energy and infrastructur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538717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857DCF-7736-4BBE-48C8-7E88A631F2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Guidance from the </a:t>
            </a:r>
            <a:r>
              <a:rPr lang="en-US" dirty="0" err="1"/>
              <a:t>evC</a:t>
            </a:r>
            <a:r>
              <a:rPr lang="en-US" dirty="0"/>
              <a:t>….</a:t>
            </a:r>
            <a:endParaRPr lang="en-A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053286-D7B0-CBF4-D2BD-8D22112173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8398" y="257778"/>
            <a:ext cx="3792172" cy="5485532"/>
          </a:xfrm>
          <a:prstGeom prst="rect">
            <a:avLst/>
          </a:prstGeom>
        </p:spPr>
      </p:pic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3093FDD7-0D12-F062-6158-CD948DF4D0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8136" y="731110"/>
            <a:ext cx="5207620" cy="539578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AU" sz="3600" cap="none" dirty="0"/>
              <a:t>“Charge during the middle of day if you can,</a:t>
            </a:r>
          </a:p>
          <a:p>
            <a:pPr>
              <a:lnSpc>
                <a:spcPct val="100000"/>
              </a:lnSpc>
            </a:pPr>
            <a:endParaRPr lang="en-AU" sz="3600" cap="none" dirty="0"/>
          </a:p>
          <a:p>
            <a:pPr>
              <a:lnSpc>
                <a:spcPct val="100000"/>
              </a:lnSpc>
            </a:pPr>
            <a:r>
              <a:rPr lang="en-AU" sz="3600" cap="none" dirty="0"/>
              <a:t>or in the middle of the night if you can’t,</a:t>
            </a:r>
          </a:p>
          <a:p>
            <a:pPr>
              <a:lnSpc>
                <a:spcPct val="100000"/>
              </a:lnSpc>
            </a:pPr>
            <a:endParaRPr lang="en-AU" sz="3600" cap="none" dirty="0"/>
          </a:p>
          <a:p>
            <a:pPr>
              <a:lnSpc>
                <a:spcPct val="100000"/>
              </a:lnSpc>
            </a:pPr>
            <a:r>
              <a:rPr lang="en-AU" sz="3600" cap="none" dirty="0"/>
              <a:t>and please *not* on a hot afternoon unless you must”</a:t>
            </a:r>
          </a:p>
          <a:p>
            <a:pPr>
              <a:lnSpc>
                <a:spcPct val="100000"/>
              </a:lnSpc>
            </a:pPr>
            <a:endParaRPr lang="en-AU" sz="3600" cap="none" dirty="0"/>
          </a:p>
        </p:txBody>
      </p:sp>
    </p:spTree>
    <p:extLst>
      <p:ext uri="{BB962C8B-B14F-4D97-AF65-F5344CB8AC3E}">
        <p14:creationId xmlns:p14="http://schemas.microsoft.com/office/powerpoint/2010/main" val="26804004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F5CED7-4216-C3D3-45D2-DB19582FE6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What do the consumers want?  What are they doing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DAB2E5-8EEC-6022-12F8-C90DEE8064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7886" y="425661"/>
            <a:ext cx="9069066" cy="5258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6177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7BA1F-7746-DFAD-76A3-A407B412E8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SO we built a thing…. AND we ARE ADVOCATING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6C919C7-C657-842E-4736-706FAE22E5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0225" y="763486"/>
            <a:ext cx="9020175" cy="4391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1687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F5CED7-4216-C3D3-45D2-DB19582FE6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What happens on the peakiest days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1BA9491-ABDB-E311-6BE3-62966E7427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6457" y="160764"/>
            <a:ext cx="7584168" cy="4424669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ACB9F1AC-B373-2753-9B92-4D5817E1CF24}"/>
              </a:ext>
            </a:extLst>
          </p:cNvPr>
          <p:cNvSpPr/>
          <p:nvPr/>
        </p:nvSpPr>
        <p:spPr>
          <a:xfrm>
            <a:off x="2863622" y="1128796"/>
            <a:ext cx="1480457" cy="1240666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4CDEF44-E190-A8F9-1924-FD22077C1434}"/>
              </a:ext>
            </a:extLst>
          </p:cNvPr>
          <p:cNvSpPr/>
          <p:nvPr/>
        </p:nvSpPr>
        <p:spPr>
          <a:xfrm>
            <a:off x="5780994" y="2572968"/>
            <a:ext cx="1480457" cy="1240666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1CB8C69-F17C-07F2-2AE1-258F02BB3A5F}"/>
              </a:ext>
            </a:extLst>
          </p:cNvPr>
          <p:cNvSpPr/>
          <p:nvPr/>
        </p:nvSpPr>
        <p:spPr>
          <a:xfrm>
            <a:off x="7585074" y="998168"/>
            <a:ext cx="1480457" cy="1240666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E404DBEF-C09B-899E-318F-5F471890E5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416" y="1869220"/>
            <a:ext cx="1683430" cy="1342172"/>
          </a:xfrm>
        </p:spPr>
        <p:txBody>
          <a:bodyPr/>
          <a:lstStyle/>
          <a:p>
            <a:r>
              <a:rPr lang="en-AU" cap="none" dirty="0"/>
              <a:t>Increased</a:t>
            </a:r>
          </a:p>
          <a:p>
            <a:r>
              <a:rPr lang="en-AU" cap="none" dirty="0"/>
              <a:t>Consumption</a:t>
            </a:r>
          </a:p>
          <a:p>
            <a:r>
              <a:rPr lang="en-AU" cap="none" dirty="0"/>
              <a:t>Middle of night</a:t>
            </a:r>
          </a:p>
          <a:p>
            <a:endParaRPr lang="en-AU" cap="none" dirty="0"/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BC590AFF-24FA-E2D5-DF06-93BC16579BC7}"/>
              </a:ext>
            </a:extLst>
          </p:cNvPr>
          <p:cNvSpPr txBox="1">
            <a:spLocks/>
          </p:cNvSpPr>
          <p:nvPr/>
        </p:nvSpPr>
        <p:spPr>
          <a:xfrm>
            <a:off x="5710689" y="4823191"/>
            <a:ext cx="2614613" cy="8985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600"/>
              </a:lnSpc>
              <a:spcBef>
                <a:spcPts val="600"/>
              </a:spcBef>
              <a:buFont typeface="Arial" panose="020B0604020202020204" pitchFamily="34" charset="0"/>
              <a:buNone/>
              <a:defRPr sz="22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ts val="19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ts val="1900"/>
              </a:lnSpc>
              <a:spcBef>
                <a:spcPts val="600"/>
              </a:spcBef>
              <a:buFont typeface="Arial Narrow" panose="020B060602020203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ts val="1900"/>
              </a:lnSpc>
              <a:spcBef>
                <a:spcPts val="600"/>
              </a:spcBef>
              <a:buFont typeface="Arial Narrow" panose="020B0606020202030204" pitchFamily="34" charset="0"/>
              <a:buChar char="◦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cap="none" dirty="0"/>
              <a:t>Reduced export</a:t>
            </a:r>
          </a:p>
          <a:p>
            <a:r>
              <a:rPr lang="en-AU" cap="none" dirty="0"/>
              <a:t>Middle of day</a:t>
            </a:r>
          </a:p>
          <a:p>
            <a:endParaRPr lang="en-AU" cap="none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221B1B3E-799B-3EEE-D435-2673480CC6DB}"/>
              </a:ext>
            </a:extLst>
          </p:cNvPr>
          <p:cNvSpPr txBox="1">
            <a:spLocks/>
          </p:cNvSpPr>
          <p:nvPr/>
        </p:nvSpPr>
        <p:spPr>
          <a:xfrm>
            <a:off x="10393816" y="1128796"/>
            <a:ext cx="2614613" cy="9900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600"/>
              </a:lnSpc>
              <a:spcBef>
                <a:spcPts val="600"/>
              </a:spcBef>
              <a:buFont typeface="Arial" panose="020B0604020202020204" pitchFamily="34" charset="0"/>
              <a:buNone/>
              <a:defRPr sz="22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ts val="19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ts val="1900"/>
              </a:lnSpc>
              <a:spcBef>
                <a:spcPts val="600"/>
              </a:spcBef>
              <a:buFont typeface="Arial Narrow" panose="020B060602020203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ts val="1900"/>
              </a:lnSpc>
              <a:spcBef>
                <a:spcPts val="600"/>
              </a:spcBef>
              <a:buFont typeface="Arial Narrow" panose="020B0606020202030204" pitchFamily="34" charset="0"/>
              <a:buChar char="◦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cap="none" dirty="0"/>
              <a:t>Reduced</a:t>
            </a:r>
          </a:p>
          <a:p>
            <a:r>
              <a:rPr lang="en-AU" cap="none" dirty="0"/>
              <a:t>consumption</a:t>
            </a:r>
          </a:p>
          <a:p>
            <a:r>
              <a:rPr lang="en-AU" cap="none" dirty="0"/>
              <a:t>at peak time</a:t>
            </a:r>
          </a:p>
          <a:p>
            <a:endParaRPr lang="en-AU" cap="none" dirty="0"/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1CED3D2F-51E0-619B-177E-0F1676D067EA}"/>
              </a:ext>
            </a:extLst>
          </p:cNvPr>
          <p:cNvSpPr/>
          <p:nvPr/>
        </p:nvSpPr>
        <p:spPr>
          <a:xfrm rot="20314809">
            <a:off x="1841136" y="2026247"/>
            <a:ext cx="1063397" cy="42517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43C63DD3-53B7-7975-D009-6C86897AC0DC}"/>
              </a:ext>
            </a:extLst>
          </p:cNvPr>
          <p:cNvSpPr/>
          <p:nvPr/>
        </p:nvSpPr>
        <p:spPr>
          <a:xfrm rot="16200000">
            <a:off x="5776888" y="4051140"/>
            <a:ext cx="1063397" cy="42517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62858C3A-24D8-54F1-34EB-3BA4251AB294}"/>
              </a:ext>
            </a:extLst>
          </p:cNvPr>
          <p:cNvSpPr/>
          <p:nvPr/>
        </p:nvSpPr>
        <p:spPr>
          <a:xfrm rot="11142352">
            <a:off x="9311917" y="1313217"/>
            <a:ext cx="1063397" cy="42517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010761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CT Electric Vehicles">
      <a:dk1>
        <a:sysClr val="windowText" lastClr="000000"/>
      </a:dk1>
      <a:lt1>
        <a:sysClr val="window" lastClr="FFFFFF"/>
      </a:lt1>
      <a:dk2>
        <a:srgbClr val="28315F"/>
      </a:dk2>
      <a:lt2>
        <a:srgbClr val="E7E6E6"/>
      </a:lt2>
      <a:accent1>
        <a:srgbClr val="00A2C8"/>
      </a:accent1>
      <a:accent2>
        <a:srgbClr val="9BBB2D"/>
      </a:accent2>
      <a:accent3>
        <a:srgbClr val="28315F"/>
      </a:accent3>
      <a:accent4>
        <a:srgbClr val="FFC000"/>
      </a:accent4>
      <a:accent5>
        <a:srgbClr val="C00000"/>
      </a:accent5>
      <a:accent6>
        <a:srgbClr val="954F72"/>
      </a:accent6>
      <a:hlink>
        <a:srgbClr val="0563C1"/>
      </a:hlink>
      <a:folHlink>
        <a:srgbClr val="954F72"/>
      </a:folHlink>
    </a:clrScheme>
    <a:fontScheme name="Arial Narrow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31E9EE78CD5C4DBB6D18A7362BAEEF" ma:contentTypeVersion="16" ma:contentTypeDescription="Create a new document." ma:contentTypeScope="" ma:versionID="73c43e40bc5d6921845a4b19956201a2">
  <xsd:schema xmlns:xsd="http://www.w3.org/2001/XMLSchema" xmlns:xs="http://www.w3.org/2001/XMLSchema" xmlns:p="http://schemas.microsoft.com/office/2006/metadata/properties" xmlns:ns2="70031e35-77ae-4446-a41f-abc26e3b3d07" xmlns:ns3="669997e6-624c-47bf-91e6-8f1004cbb712" targetNamespace="http://schemas.microsoft.com/office/2006/metadata/properties" ma:root="true" ma:fieldsID="c87330b87e71c6874c0bbd5b9cef91c2" ns2:_="" ns3:_="">
    <xsd:import namespace="70031e35-77ae-4446-a41f-abc26e3b3d07"/>
    <xsd:import namespace="669997e6-624c-47bf-91e6-8f1004cbb71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031e35-77ae-4446-a41f-abc26e3b3d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f23227d-ad4b-4d05-b4b0-926f33f677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9997e6-624c-47bf-91e6-8f1004cbb71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7d90fb0e-e6c9-42f2-881e-7f8ff99774df}" ma:internalName="TaxCatchAll" ma:showField="CatchAllData" ma:web="669997e6-624c-47bf-91e6-8f1004cbb71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69997e6-624c-47bf-91e6-8f1004cbb712" xsi:nil="true"/>
    <lcf76f155ced4ddcb4097134ff3c332f xmlns="70031e35-77ae-4446-a41f-abc26e3b3d0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06D186FA-062C-48B9-B243-9AFE9787678C}"/>
</file>

<file path=customXml/itemProps2.xml><?xml version="1.0" encoding="utf-8"?>
<ds:datastoreItem xmlns:ds="http://schemas.openxmlformats.org/officeDocument/2006/customXml" ds:itemID="{7025A095-0A80-4BB7-87CB-24B36DBFB86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CB2D58F-C02A-4333-8CB7-65D7EE215E50}">
  <ds:schemaRefs>
    <ds:schemaRef ds:uri="http://schemas.openxmlformats.org/package/2006/metadata/core-properties"/>
    <ds:schemaRef ds:uri="http://purl.org/dc/elements/1.1/"/>
    <ds:schemaRef ds:uri="http://www.w3.org/XML/1998/namespace"/>
    <ds:schemaRef ds:uri="http://purl.org/dc/dcmitype/"/>
    <ds:schemaRef ds:uri="http://schemas.microsoft.com/office/infopath/2007/PartnerControls"/>
    <ds:schemaRef ds:uri="b1f3c0d4-5ac3-4939-acc5-c9d86ea663cd"/>
    <ds:schemaRef ds:uri="http://schemas.microsoft.com/office/2006/documentManagement/types"/>
    <ds:schemaRef ds:uri="25768565-a457-4542-8964-4eec916e0c64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351</TotalTime>
  <Words>109</Words>
  <Application>Microsoft Office PowerPoint</Application>
  <PresentationFormat>Widescreen</PresentationFormat>
  <Paragraphs>20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Arial Narrow</vt:lpstr>
      <vt:lpstr>Calibri</vt:lpstr>
      <vt:lpstr>Office Theme</vt:lpstr>
      <vt:lpstr>think-cell Slide</vt:lpstr>
      <vt:lpstr>Getting Charged and Ready: Placing Consumers in the Driving Seat to Power Up the Grid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ss De Rango</dc:creator>
  <cp:lastModifiedBy>Ross De Rango</cp:lastModifiedBy>
  <cp:revision>68</cp:revision>
  <cp:lastPrinted>2017-03-02T04:06:50Z</cp:lastPrinted>
  <dcterms:created xsi:type="dcterms:W3CDTF">2016-07-29T03:25:52Z</dcterms:created>
  <dcterms:modified xsi:type="dcterms:W3CDTF">2024-11-18T23:4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31E9EE78CD5C4DBB6D18A7362BAEEF</vt:lpwstr>
  </property>
</Properties>
</file>